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28"/>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Elasticity Curve" id="{993980B6-1B51-4BEB-929C-5CAAC5BD5678}">
          <p14:sldIdLst>
            <p14:sldId id="2147476952"/>
            <p14:sldId id="2147476953"/>
            <p14:sldId id="2147476954"/>
            <p14:sldId id="2147476955"/>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65" d="100"/>
          <a:sy n="65" d="100"/>
        </p:scale>
        <p:origin x="22" y="95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1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1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1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1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18/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18/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08730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16189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48574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78893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068509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40933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0951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82962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60991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14022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4940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3753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724857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87593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71145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6432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1459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17593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43337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5021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26968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86198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72</Words>
  <Application>Microsoft Office PowerPoint</Application>
  <PresentationFormat>On-screen Show (16:9)</PresentationFormat>
  <Paragraphs>924</Paragraphs>
  <Slides>2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09:12Z</dcterms:created>
  <dcterms:modified xsi:type="dcterms:W3CDTF">2025-07-18T12: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